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2"/>
  </p:notesMasterIdLst>
  <p:sldIdLst>
    <p:sldId id="257" r:id="rId3"/>
    <p:sldId id="260" r:id="rId4"/>
    <p:sldId id="274" r:id="rId5"/>
    <p:sldId id="273" r:id="rId6"/>
    <p:sldId id="276" r:id="rId7"/>
    <p:sldId id="275" r:id="rId8"/>
    <p:sldId id="262" r:id="rId9"/>
    <p:sldId id="263" r:id="rId10"/>
    <p:sldId id="270" r:id="rId11"/>
    <p:sldId id="277" r:id="rId12"/>
    <p:sldId id="278" r:id="rId13"/>
    <p:sldId id="264" r:id="rId14"/>
    <p:sldId id="265" r:id="rId15"/>
    <p:sldId id="266" r:id="rId16"/>
    <p:sldId id="267" r:id="rId17"/>
    <p:sldId id="268" r:id="rId18"/>
    <p:sldId id="269" r:id="rId19"/>
    <p:sldId id="279" r:id="rId20"/>
    <p:sldId id="272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90" y="2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82B84C-4D7B-4848-9B79-2692FAC9EFE9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986F96-45A4-493E-8B0D-40A16E28E5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350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9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222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7280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332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640447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91324E2-571A-468D-A875-1EEDE328B349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Capgemini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495BAFB-5C3C-47AA-81D8-D42BA754FC78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3286460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1D50C9F-E069-43C2-9081-E7876458BF13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A6DABD5-99E0-4301-8038-E4C07C5AA604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68658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F574EE6-F6A5-4F5F-8063-F19038AFC98A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40C381-3EA3-44E4-9834-E7C4E029A7F6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8038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364EAFF-4083-452B-AF3C-497B862A109F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01BACE7-B31F-4705-9CF7-4B96084D682F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98933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C6C739D-3ECA-4D24-BDE4-9DAABEEC7000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EE85F59-FBF8-4F5E-BF9B-3ED8D2B93E59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8091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135FEDC-3E07-47BE-B890-1AA2D13C8099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C518F00-8F57-46E0-8AB2-9559EBB7E367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33170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353EB39-26EB-48FA-BB3A-C8C94138A4D3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2BFA9BD-275D-4128-A245-DB2405A7B90C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009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8955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CE2CC15-AAB7-4C5B-BE9F-C1A32BAB9AAF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918D787-0568-4C40-BEE3-5E522FFDF915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38383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68B8497-A4B1-4C08-802A-08993E8350C7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0283D2C-7EF7-483F-BCC7-D677B3F5E528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899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44E06B0-2969-4121-952E-EEC27B5B3491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BA1015-DCB6-4DDB-AA97-23C380D87695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5789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FB144EF-DBAD-4078-B64C-BBA259F0AA80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2/22/20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327D37A-EFBD-46A3-9C8A-68AB62BEDE54}" type="slidenum">
              <a:rPr lang="en-US" altLang="en-US">
                <a:solidFill>
                  <a:prstClr val="black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8493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49" y="2"/>
            <a:ext cx="7054851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fontAlgn="base" hangingPunct="0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9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195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2976182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492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458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59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128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2545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53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290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2924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25DF54-D384-4F2A-99B5-E7E348AB2F33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6AF9BC-45C6-4A86-9B4B-855DD9D5E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134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06400" y="20638"/>
            <a:ext cx="109728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</p:txBody>
      </p:sp>
      <p:sp>
        <p:nvSpPr>
          <p:cNvPr id="1028" name="Rectangle 20"/>
          <p:cNvSpPr txBox="1">
            <a:spLocks noChangeArrowheads="1"/>
          </p:cNvSpPr>
          <p:nvPr/>
        </p:nvSpPr>
        <p:spPr bwMode="auto">
          <a:xfrm>
            <a:off x="381000" y="6597650"/>
            <a:ext cx="1625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C30D44-4FF9-405F-B5B6-0B9ED888DB36}" type="datetime4">
              <a:rPr lang="en-US" sz="800" smtClean="0">
                <a:solidFill>
                  <a:srgbClr val="7F7F7F"/>
                </a:solidFill>
                <a:latin typeface="Candara" pitchFamily="34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February 22, 2018</a:t>
            </a:fld>
            <a:endParaRPr lang="en-US" sz="800" smtClean="0">
              <a:solidFill>
                <a:srgbClr val="7F7F7F"/>
              </a:solidFill>
              <a:latin typeface="Candara" pitchFamily="34" charset="0"/>
              <a:cs typeface="Arial" charset="0"/>
            </a:endParaRPr>
          </a:p>
        </p:txBody>
      </p:sp>
      <p:sp>
        <p:nvSpPr>
          <p:cNvPr id="1029" name="Text Box 9"/>
          <p:cNvSpPr txBox="1">
            <a:spLocks noChangeArrowheads="1"/>
          </p:cNvSpPr>
          <p:nvPr/>
        </p:nvSpPr>
        <p:spPr bwMode="auto">
          <a:xfrm>
            <a:off x="1695452" y="6597650"/>
            <a:ext cx="14318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800" smtClean="0">
                <a:solidFill>
                  <a:srgbClr val="7F7F7F"/>
                </a:solidFill>
                <a:latin typeface="Candara" pitchFamily="34" charset="0"/>
                <a:cs typeface="Arial" charset="0"/>
              </a:rPr>
              <a:t>Proprietary and Confidential </a:t>
            </a:r>
          </a:p>
        </p:txBody>
      </p:sp>
      <p:sp>
        <p:nvSpPr>
          <p:cNvPr id="1030" name="Text Box 5"/>
          <p:cNvSpPr txBox="1">
            <a:spLocks noChangeArrowheads="1"/>
          </p:cNvSpPr>
          <p:nvPr/>
        </p:nvSpPr>
        <p:spPr bwMode="gray">
          <a:xfrm>
            <a:off x="3706195" y="6632189"/>
            <a:ext cx="237244" cy="1384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58585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n-US" altLang="en-US" sz="800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- </a:t>
            </a:r>
            <a:fld id="{0670A1E1-1F90-4986-A51C-9AF6057B9273}" type="slidenum">
              <a:rPr lang="en-US" altLang="en-US" sz="900" smtClean="0">
                <a:solidFill>
                  <a:srgbClr val="7F7F7F"/>
                </a:solidFill>
                <a:latin typeface="Candara" panose="020E0502030303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anose="05000000000000000000" pitchFamily="2" charset="2"/>
                <a:buNone/>
                <a:defRPr/>
              </a:pPr>
              <a:t>‹#›</a:t>
            </a:fld>
            <a:r>
              <a:rPr lang="en-US" altLang="en-US" sz="900" smtClean="0">
                <a:solidFill>
                  <a:srgbClr val="7F7F7F"/>
                </a:solidFill>
                <a:latin typeface="Candara" panose="020E0502030303020204" pitchFamily="34" charset="0"/>
              </a:rPr>
              <a:t> </a:t>
            </a:r>
            <a:r>
              <a:rPr lang="en-US" altLang="en-US" sz="800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-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508000" y="6583363"/>
            <a:ext cx="9956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1680633" y="6583364"/>
            <a:ext cx="0" cy="2317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572933" y="6583364"/>
            <a:ext cx="0" cy="2317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4" name="Picture 1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85800"/>
            <a:ext cx="74676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2" descr="C:\Users\vkasture\Desktop\IGate-logo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8000" y="6040438"/>
            <a:ext cx="2489200" cy="67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7766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ndar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ndar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ndar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ndar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ndar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ndar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ndar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ndar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A1E4"/>
        </a:buClr>
        <a:buFont typeface="Arial" panose="020B0604020202020204" pitchFamily="34" charset="0"/>
        <a:buChar char="•"/>
        <a:defRPr b="1" kern="1200">
          <a:solidFill>
            <a:srgbClr val="7F7F7F"/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rgbClr val="7F7F7F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rgbClr val="7F7F7F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colg_stg_exp.png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.png"/><Relationship Id="rId5" Type="http://schemas.openxmlformats.org/officeDocument/2006/relationships/hyperlink" Target="stg_college.png" TargetMode="Externa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stg_company.png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png"/><Relationship Id="rId5" Type="http://schemas.openxmlformats.org/officeDocument/2006/relationships/hyperlink" Target="EXP_STG_COMPANY.png" TargetMode="Externa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hyperlink" Target="College_exp.png" TargetMode="External"/><Relationship Id="rId7" Type="http://schemas.openxmlformats.org/officeDocument/2006/relationships/hyperlink" Target="FIL_COLLEGE_UPD.png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.png"/><Relationship Id="rId5" Type="http://schemas.openxmlformats.org/officeDocument/2006/relationships/hyperlink" Target="FIL_COLLEGE_NEW.png" TargetMode="External"/><Relationship Id="rId10" Type="http://schemas.openxmlformats.org/officeDocument/2006/relationships/image" Target="../media/image23.png"/><Relationship Id="rId4" Type="http://schemas.openxmlformats.org/officeDocument/2006/relationships/image" Target="../media/image20.png"/><Relationship Id="rId9" Type="http://schemas.openxmlformats.org/officeDocument/2006/relationships/hyperlink" Target="Dim_college.png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hyperlink" Target="date_exp.png" TargetMode="External"/><Relationship Id="rId7" Type="http://schemas.openxmlformats.org/officeDocument/2006/relationships/hyperlink" Target="dim_date.png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hyperlink" Target="date_exp2.png" TargetMode="External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fact_colg.png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fact_survey.png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.jpg"/><Relationship Id="rId5" Type="http://schemas.openxmlformats.org/officeDocument/2006/relationships/image" Target="../media/image8.png"/><Relationship Id="rId4" Type="http://schemas.openxmlformats.org/officeDocument/2006/relationships/image" Target="../media/image7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0" y="188920"/>
            <a:ext cx="5081666" cy="2269467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4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tistical Analysis of Campus Recruitments</a:t>
            </a:r>
          </a:p>
        </p:txBody>
      </p:sp>
    </p:spTree>
    <p:extLst>
      <p:ext uri="{BB962C8B-B14F-4D97-AF65-F5344CB8AC3E}">
        <p14:creationId xmlns:p14="http://schemas.microsoft.com/office/powerpoint/2010/main" val="204569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PP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44381"/>
            <a:ext cx="10972800" cy="5181784"/>
          </a:xfrm>
        </p:spPr>
        <p:txBody>
          <a:bodyPr/>
          <a:lstStyle/>
          <a:p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ging 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ble: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G_COLLEGE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8643" y="2163580"/>
            <a:ext cx="7719933" cy="3577652"/>
          </a:xfrm>
          <a:prstGeom prst="rect">
            <a:avLst/>
          </a:prstGeom>
        </p:spPr>
      </p:pic>
      <p:pic>
        <p:nvPicPr>
          <p:cNvPr id="7" name="Picture 6">
            <a:hlinkClick r:id="rId3" action="ppaction://hlinkfile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6759" y="3492396"/>
            <a:ext cx="633569" cy="536594"/>
          </a:xfrm>
          <a:prstGeom prst="rect">
            <a:avLst/>
          </a:prstGeom>
        </p:spPr>
      </p:pic>
      <p:pic>
        <p:nvPicPr>
          <p:cNvPr id="8" name="Picture 7">
            <a:hlinkClick r:id="rId5" action="ppaction://hlinkfile"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66439" y="4014000"/>
            <a:ext cx="1072630" cy="102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619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PING CONTD.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49311"/>
            <a:ext cx="10972800" cy="5076853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ging Table: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G_COMPANY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4183" y="2095500"/>
            <a:ext cx="8514413" cy="3615752"/>
          </a:xfrm>
          <a:prstGeom prst="rect">
            <a:avLst/>
          </a:prstGeom>
        </p:spPr>
      </p:pic>
      <p:pic>
        <p:nvPicPr>
          <p:cNvPr id="6" name="Picture 5">
            <a:hlinkClick r:id="rId3" action="ppaction://hlinkfile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6195" y="3984963"/>
            <a:ext cx="1617786" cy="1036742"/>
          </a:xfrm>
          <a:prstGeom prst="rect">
            <a:avLst/>
          </a:prstGeom>
        </p:spPr>
      </p:pic>
      <p:pic>
        <p:nvPicPr>
          <p:cNvPr id="7" name="Picture 6">
            <a:hlinkClick r:id="rId5" action="ppaction://hlinkfile"/>
          </p:cNvPr>
          <p:cNvPicPr>
            <a:picLocks noChangeAspect="1"/>
          </p:cNvPicPr>
          <p:nvPr/>
        </p:nvPicPr>
        <p:blipFill rotWithShape="1">
          <a:blip r:embed="rId6"/>
          <a:srcRect l="23726" r="28537" b="30083"/>
          <a:stretch/>
        </p:blipFill>
        <p:spPr>
          <a:xfrm>
            <a:off x="5773711" y="2687515"/>
            <a:ext cx="986853" cy="9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057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63936" y="2032303"/>
            <a:ext cx="7145153" cy="443708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06400" y="1274164"/>
            <a:ext cx="4491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mensional Table: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m_College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hlinkClick r:id="rId3" action="ppaction://hlinkfile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8882" y="3471322"/>
            <a:ext cx="495300" cy="695325"/>
          </a:xfrm>
          <a:prstGeom prst="rect">
            <a:avLst/>
          </a:prstGeom>
        </p:spPr>
      </p:pic>
      <p:pic>
        <p:nvPicPr>
          <p:cNvPr id="3" name="Picture 2">
            <a:hlinkClick r:id="rId5" action="ppaction://hlinkfile"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2839" y="3539282"/>
            <a:ext cx="666750" cy="771525"/>
          </a:xfrm>
          <a:prstGeom prst="rect">
            <a:avLst/>
          </a:prstGeom>
        </p:spPr>
      </p:pic>
      <p:pic>
        <p:nvPicPr>
          <p:cNvPr id="4" name="Picture 3">
            <a:hlinkClick r:id="rId7" action="ppaction://hlinkfile"/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2839" y="4250847"/>
            <a:ext cx="704850" cy="710897"/>
          </a:xfrm>
          <a:prstGeom prst="rect">
            <a:avLst/>
          </a:prstGeom>
        </p:spPr>
      </p:pic>
      <p:pic>
        <p:nvPicPr>
          <p:cNvPr id="11" name="Picture 10">
            <a:hlinkClick r:id="rId9" action="ppaction://hlinkfile"/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71178" y="3509302"/>
            <a:ext cx="81915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147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PPING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6400" y="1167022"/>
            <a:ext cx="46969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mensional Table: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m_Company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0620" y="1566842"/>
            <a:ext cx="7914807" cy="4592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820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PPING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6400" y="1052990"/>
            <a:ext cx="43731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mensional Table: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m_Survey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4104" y="1570221"/>
            <a:ext cx="8169639" cy="4635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370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PPING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6400" y="1063586"/>
            <a:ext cx="40813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mensional Table: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m_Date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34616" y="1581166"/>
            <a:ext cx="7636679" cy="4639751"/>
          </a:xfrm>
          <a:prstGeom prst="rect">
            <a:avLst/>
          </a:prstGeom>
        </p:spPr>
      </p:pic>
      <p:pic>
        <p:nvPicPr>
          <p:cNvPr id="3" name="Picture 2">
            <a:hlinkClick r:id="rId3" action="ppaction://hlinkfile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1704" y="3174089"/>
            <a:ext cx="847725" cy="809625"/>
          </a:xfrm>
          <a:prstGeom prst="rect">
            <a:avLst/>
          </a:prstGeom>
        </p:spPr>
      </p:pic>
      <p:pic>
        <p:nvPicPr>
          <p:cNvPr id="5" name="Picture 4">
            <a:hlinkClick r:id="rId5" action="ppaction://hlinkfile"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13961" y="4205600"/>
            <a:ext cx="781050" cy="695325"/>
          </a:xfrm>
          <a:prstGeom prst="rect">
            <a:avLst/>
          </a:prstGeom>
        </p:spPr>
      </p:pic>
      <p:pic>
        <p:nvPicPr>
          <p:cNvPr id="6" name="Picture 5">
            <a:hlinkClick r:id="rId7" action="ppaction://hlinkfile"/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18440" y="4938024"/>
            <a:ext cx="652855" cy="88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95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PPING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6400" y="1063586"/>
            <a:ext cx="44019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act Table: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act_College_Details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23672" y="1644637"/>
            <a:ext cx="7067861" cy="4786143"/>
          </a:xfrm>
          <a:prstGeom prst="rect">
            <a:avLst/>
          </a:prstGeom>
        </p:spPr>
      </p:pic>
      <p:pic>
        <p:nvPicPr>
          <p:cNvPr id="3" name="Picture 2">
            <a:hlinkClick r:id="rId3" action="ppaction://hlinkfile"/>
          </p:cNvPr>
          <p:cNvPicPr>
            <a:picLocks noChangeAspect="1"/>
          </p:cNvPicPr>
          <p:nvPr/>
        </p:nvPicPr>
        <p:blipFill rotWithShape="1">
          <a:blip r:embed="rId4"/>
          <a:srcRect l="5535" r="-1"/>
          <a:stretch/>
        </p:blipFill>
        <p:spPr>
          <a:xfrm>
            <a:off x="6955435" y="4642578"/>
            <a:ext cx="1154243" cy="99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987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PPING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6400" y="1063586"/>
            <a:ext cx="43186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act Table: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act_Survey_Details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33731" y="1563100"/>
            <a:ext cx="7210269" cy="4932445"/>
          </a:xfrm>
          <a:prstGeom prst="rect">
            <a:avLst/>
          </a:prstGeom>
        </p:spPr>
      </p:pic>
      <p:pic>
        <p:nvPicPr>
          <p:cNvPr id="3" name="Picture 2">
            <a:hlinkClick r:id="rId3" action="ppaction://hlinkfile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8970" y="4494082"/>
            <a:ext cx="1153604" cy="112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143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612" y="1678898"/>
            <a:ext cx="9248775" cy="3522077"/>
          </a:xfrm>
        </p:spPr>
      </p:pic>
    </p:spTree>
    <p:extLst>
      <p:ext uri="{BB962C8B-B14F-4D97-AF65-F5344CB8AC3E}">
        <p14:creationId xmlns:p14="http://schemas.microsoft.com/office/powerpoint/2010/main" val="156429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			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3944" y="1512441"/>
            <a:ext cx="9081541" cy="397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658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34911" y="812801"/>
            <a:ext cx="11447489" cy="5313364"/>
          </a:xfrm>
          <a:blipFill dpi="0" rotWithShape="1">
            <a:blip r:embed="rId2">
              <a:alphaModFix amt="14000"/>
            </a:blip>
            <a:srcRect/>
            <a:stretch>
              <a:fillRect/>
            </a:stretch>
          </a:blipFill>
        </p:spPr>
        <p:txBody>
          <a:bodyPr/>
          <a:lstStyle/>
          <a:p>
            <a:pPr marL="0" indent="0">
              <a:buNone/>
            </a:pPr>
            <a:endParaRPr lang="en-US" sz="30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3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ntor: JAYAVIBHAVA</a:t>
            </a:r>
          </a:p>
          <a:p>
            <a:pPr marL="0" indent="0">
              <a:buNone/>
            </a:pPr>
            <a:endParaRPr lang="en-US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375161" y="275819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079698" y="3127522"/>
            <a:ext cx="365442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roup Members:</a:t>
            </a: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vyashree N</a:t>
            </a: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arshavardhan Reddy B</a:t>
            </a: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yal M</a:t>
            </a: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oja K</a:t>
            </a: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enkatesh R</a:t>
            </a:r>
          </a:p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ijayprasath S</a:t>
            </a:r>
          </a:p>
          <a:p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193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79293"/>
            <a:ext cx="10972800" cy="5046872"/>
          </a:xfrm>
        </p:spPr>
        <p:txBody>
          <a:bodyPr/>
          <a:lstStyle/>
          <a:p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se days every single organization is going to the universities and selecting the 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s.</a:t>
            </a:r>
          </a:p>
          <a:p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ach organization has its own particular criteria, similar to scholarly outcomes and different exercises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light of the criteria the 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s </a:t>
            </a: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 shortlisted and are being put in that specific organization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are many organizations who conducts surveys on the universities </a:t>
            </a: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declare the 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comes based on the number of students selected for that organization.</a:t>
            </a:r>
          </a:p>
        </p:txBody>
      </p:sp>
    </p:spTree>
    <p:extLst>
      <p:ext uri="{BB962C8B-B14F-4D97-AF65-F5344CB8AC3E}">
        <p14:creationId xmlns:p14="http://schemas.microsoft.com/office/powerpoint/2010/main" val="44545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OPE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229193"/>
            <a:ext cx="11176000" cy="4896971"/>
          </a:xfrm>
        </p:spPr>
        <p:txBody>
          <a:bodyPr/>
          <a:lstStyle/>
          <a:p>
            <a:pPr lvl="0"/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mber of Colleges 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sited </a:t>
            </a: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 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arter.</a:t>
            </a:r>
          </a:p>
          <a:p>
            <a:pPr marL="0" lvl="0" indent="0">
              <a:buNone/>
            </a:pPr>
            <a:endParaRPr lang="en-US" sz="2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Placement Percentage Per 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ear.</a:t>
            </a:r>
          </a:p>
          <a:p>
            <a:pPr marL="0" lvl="0" indent="0">
              <a:buNone/>
            </a:pPr>
            <a:endParaRPr lang="en-US" sz="2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ear Wise Total number of Students 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ected.</a:t>
            </a:r>
          </a:p>
          <a:p>
            <a:pPr marL="0" indent="0">
              <a:buNone/>
            </a:pPr>
            <a:endParaRPr lang="en-US" sz="26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anies with criteria and their 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ckages.</a:t>
            </a:r>
            <a:endParaRPr lang="en-US" sz="2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078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YSTEM  REQUIREMENT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508125"/>
            <a:ext cx="5524500" cy="20764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528" y="1313667"/>
            <a:ext cx="2806494" cy="210487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72" y="3919405"/>
            <a:ext cx="2190750" cy="20955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469" y="3251340"/>
            <a:ext cx="4921561" cy="276356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898" y="1764580"/>
            <a:ext cx="3035160" cy="303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496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JECT FLOW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7" name="Content Placeholder 2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31906" y="1765013"/>
            <a:ext cx="5617616" cy="3822562"/>
          </a:xfrm>
          <a:prstGeom prst="rect">
            <a:avLst/>
          </a:prstGeom>
        </p:spPr>
      </p:pic>
      <p:sp>
        <p:nvSpPr>
          <p:cNvPr id="5" name="Rectangle 22"/>
          <p:cNvSpPr>
            <a:spLocks noChangeArrowheads="1"/>
          </p:cNvSpPr>
          <p:nvPr/>
        </p:nvSpPr>
        <p:spPr bwMode="auto">
          <a:xfrm>
            <a:off x="1663909" y="182688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028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CEPT OF ETL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199213"/>
            <a:ext cx="11176000" cy="4926951"/>
          </a:xfrm>
        </p:spPr>
        <p:txBody>
          <a:bodyPr/>
          <a:lstStyle/>
          <a:p>
            <a:pPr algn="just"/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process of extracting data from source systems and bringing it into the data warehouse is commonly called </a:t>
            </a:r>
            <a:r>
              <a:rPr lang="en-US" sz="2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TL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ich stands for </a:t>
            </a:r>
            <a:r>
              <a:rPr lang="en-US" sz="2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r>
              <a:rPr lang="en-US" sz="2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traction, Transformation</a:t>
            </a: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and </a:t>
            </a:r>
            <a:r>
              <a:rPr lang="en-US" sz="2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ading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/>
            <a:endParaRPr lang="en-US" sz="2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2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979" y="2533630"/>
            <a:ext cx="6995120" cy="345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548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CEPT OF ETL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34125"/>
            <a:ext cx="10972800" cy="4792039"/>
          </a:xfrm>
        </p:spPr>
        <p:txBody>
          <a:bodyPr/>
          <a:lstStyle/>
          <a:p>
            <a:pPr algn="just"/>
            <a:r>
              <a:rPr lang="en-US" sz="2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tract </a:t>
            </a: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the process of reading data from a database. In this stage, the data is collected, often from multiple and different types of sources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 algn="just">
              <a:buNone/>
            </a:pPr>
            <a:endParaRPr lang="en-US" sz="2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nsform</a:t>
            </a: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is the process of converting the extracted data from its previous form into the form it needs to be </a:t>
            </a:r>
            <a:r>
              <a:rPr lang="en-US" sz="26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, so that it </a:t>
            </a: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n be placed into another database. </a:t>
            </a:r>
            <a:endParaRPr lang="en-US" sz="26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endParaRPr lang="en-US" sz="2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ad</a:t>
            </a:r>
            <a:r>
              <a:rPr lang="en-US" sz="26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is the process of writing the data into the target database.</a:t>
            </a:r>
          </a:p>
          <a:p>
            <a:pPr marL="0" indent="0" algn="just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520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AR SCHEMA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775" y="1114035"/>
            <a:ext cx="6950630" cy="5146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854439" y="111403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04931" y="1483367"/>
            <a:ext cx="4676931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US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e</a:t>
            </a: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star schema is the simplest style of data mart </a:t>
            </a:r>
            <a:r>
              <a:rPr lang="en-US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hem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 star schema consists of one or more fact tables referencing any number of dimension tables.</a:t>
            </a:r>
          </a:p>
        </p:txBody>
      </p:sp>
    </p:spTree>
    <p:extLst>
      <p:ext uri="{BB962C8B-B14F-4D97-AF65-F5344CB8AC3E}">
        <p14:creationId xmlns:p14="http://schemas.microsoft.com/office/powerpoint/2010/main" val="3153669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3</TotalTime>
  <Words>205</Words>
  <Application>Microsoft Office PowerPoint</Application>
  <PresentationFormat>Widescreen</PresentationFormat>
  <Paragraphs>61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ＭＳ Ｐゴシック</vt:lpstr>
      <vt:lpstr>Arial</vt:lpstr>
      <vt:lpstr>Calibri</vt:lpstr>
      <vt:lpstr>Calibri Light</vt:lpstr>
      <vt:lpstr>Candara</vt:lpstr>
      <vt:lpstr>Times New Roman</vt:lpstr>
      <vt:lpstr>Wingdings</vt:lpstr>
      <vt:lpstr>Office Theme</vt:lpstr>
      <vt:lpstr>1_Office Theme</vt:lpstr>
      <vt:lpstr>think-cell Slide</vt:lpstr>
      <vt:lpstr>Statistical Analysis of Campus Recruitments</vt:lpstr>
      <vt:lpstr>PowerPoint Presentation</vt:lpstr>
      <vt:lpstr>INTRODUCTION</vt:lpstr>
      <vt:lpstr>SCOPE OF THE PROJECT</vt:lpstr>
      <vt:lpstr>SYSTEM  REQUIREMENTS</vt:lpstr>
      <vt:lpstr>PROJECT FLOW</vt:lpstr>
      <vt:lpstr>CONCEPT OF ETL</vt:lpstr>
      <vt:lpstr>CONCEPT OF ETL</vt:lpstr>
      <vt:lpstr>STAR SCHEMA</vt:lpstr>
      <vt:lpstr>MAPPING</vt:lpstr>
      <vt:lpstr>MAPPING CONTD..</vt:lpstr>
      <vt:lpstr>PowerPoint Presentation</vt:lpstr>
      <vt:lpstr>MAPPING</vt:lpstr>
      <vt:lpstr>MAPPING</vt:lpstr>
      <vt:lpstr>MAPPING</vt:lpstr>
      <vt:lpstr>MAPPING</vt:lpstr>
      <vt:lpstr>MAPPING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ini, Venkatesh</dc:creator>
  <cp:lastModifiedBy>Ramini, Venkatesh</cp:lastModifiedBy>
  <cp:revision>43</cp:revision>
  <dcterms:created xsi:type="dcterms:W3CDTF">2018-02-21T05:13:48Z</dcterms:created>
  <dcterms:modified xsi:type="dcterms:W3CDTF">2018-02-22T12:50:57Z</dcterms:modified>
</cp:coreProperties>
</file>